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6" r:id="rId1"/>
  </p:sldMasterIdLst>
  <p:notesMasterIdLst>
    <p:notesMasterId r:id="rId5"/>
  </p:notesMasterIdLst>
  <p:sldIdLst>
    <p:sldId id="2147471966" r:id="rId2"/>
    <p:sldId id="2147471967" r:id="rId3"/>
    <p:sldId id="2147471968" r:id="rId4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431C1C-2294-D5FE-06AB-DE60B37852B7}" name="Desilets, Rose" initials="DR" userId="S::rdesilets@mgb.org::49560a7b-b4e1-4c9c-9697-5f334620b403" providerId="AD"/>
  <p188:author id="{23741545-B06E-9030-0D33-16772E4A055B}" name="Desilets, Rose" initials="DR" userId="S::RDESILETS@PARTNERS.ORG::49560a7b-b4e1-4c9c-9697-5f334620b403" providerId="AD"/>
  <p188:author id="{52C556D9-A173-CDAC-0474-E19498C8E486}" name="Alley, Michelle" initials="AM" userId="S::MALLEY2@PARTNERS.ORG::2bf1802d-b022-4f95-952b-f37ef995ba1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ily Welch" initials="EW" lastIdx="5" clrIdx="0">
    <p:extLst>
      <p:ext uri="{19B8F6BF-5375-455C-9EA6-DF929625EA0E}">
        <p15:presenceInfo xmlns:p15="http://schemas.microsoft.com/office/powerpoint/2012/main" userId="Emily Welch" providerId="None"/>
      </p:ext>
    </p:extLst>
  </p:cmAuthor>
  <p:cmAuthor id="2" name="Desilets, Rose" initials="DR" lastIdx="1" clrIdx="1">
    <p:extLst>
      <p:ext uri="{19B8F6BF-5375-455C-9EA6-DF929625EA0E}">
        <p15:presenceInfo xmlns:p15="http://schemas.microsoft.com/office/powerpoint/2012/main" userId="S::RDESILETS@PARTNERS.ORG::49560a7b-b4e1-4c9c-9697-5f334620b403" providerId="AD"/>
      </p:ext>
    </p:extLst>
  </p:cmAuthor>
  <p:cmAuthor id="3" name="Gelardi, Mary" initials="GM" lastIdx="1" clrIdx="2">
    <p:extLst>
      <p:ext uri="{19B8F6BF-5375-455C-9EA6-DF929625EA0E}">
        <p15:presenceInfo xmlns:p15="http://schemas.microsoft.com/office/powerpoint/2012/main" userId="Gelardi, Mar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46" autoAdjust="0"/>
    <p:restoredTop sz="93765" autoAdjust="0"/>
  </p:normalViewPr>
  <p:slideViewPr>
    <p:cSldViewPr snapToGrid="0" snapToObjects="1">
      <p:cViewPr varScale="1">
        <p:scale>
          <a:sx n="111" d="100"/>
          <a:sy n="111" d="100"/>
        </p:scale>
        <p:origin x="990" y="31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76543-5EF1-DA4A-8415-0A3EFD492F07}" type="datetimeFigureOut">
              <a:rPr lang="en-US" smtClean="0"/>
              <a:t>5/20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A62D3-769D-F349-A3F8-B6F214D63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55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2194808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813023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1245530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40298635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0841710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6849535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2564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226014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602215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738634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174804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753308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4187396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171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932110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0" imgH="531" progId="TCLayout.ActiveDocument.1">
                  <p:embed/>
                </p:oleObj>
              </mc:Choice>
              <mc:Fallback>
                <p:oleObj name="think-cell Slide" r:id="rId19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44752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mailto:PCMVideoconferencing@partnershealthcare.onmicrosoft.com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AD97EEF-2CF4-6F2B-DE44-B8B3F8AC2B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0079" y="1183814"/>
            <a:ext cx="11091003" cy="4023360"/>
          </a:xfrm>
        </p:spPr>
        <p:txBody>
          <a:bodyPr/>
          <a:lstStyle/>
          <a:p>
            <a:pPr algn="l">
              <a:buNone/>
            </a:pPr>
            <a:r>
              <a:rPr lang="en-US" sz="1600" b="1" u="sng" dirty="0">
                <a:solidFill>
                  <a:srgbClr val="323130"/>
                </a:solidFill>
                <a:latin typeface="Segoe UI" panose="020B0502040204020203" pitchFamily="34" charset="0"/>
              </a:rPr>
              <a:t>Message from the MGB Education Office Leadership</a:t>
            </a:r>
          </a:p>
          <a:p>
            <a:pPr algn="l">
              <a:buNone/>
            </a:pPr>
            <a:endParaRPr lang="en-US" sz="1600" b="0" i="0" dirty="0">
              <a:solidFill>
                <a:srgbClr val="323130"/>
              </a:solidFill>
              <a:effectLst/>
              <a:latin typeface="Segoe UI" panose="020B0502040204020203" pitchFamily="34" charset="0"/>
            </a:endParaRPr>
          </a:p>
          <a:p>
            <a:pPr algn="l">
              <a:buNone/>
            </a:pPr>
            <a:r>
              <a:rPr lang="en-US" sz="1600" dirty="0">
                <a:solidFill>
                  <a:srgbClr val="323130"/>
                </a:solidFill>
                <a:latin typeface="Segoe UI" panose="020B0502040204020203" pitchFamily="34" charset="0"/>
              </a:rPr>
              <a:t>A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s many of you know, MGB Digital is phasing out generalized use of Zoom and Dropbox in favor of Teams and the One Drive for internal-facing communications. </a:t>
            </a:r>
            <a:r>
              <a:rPr lang="en-US" sz="1600" b="1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For ZOOM, the MGB Education office have secured exceptions for individual people engaged in select education activities.  These include virtual recruiting, </a:t>
            </a:r>
            <a:r>
              <a:rPr lang="en-US" sz="1600" b="1" i="0" u="sng" dirty="0">
                <a:solidFill>
                  <a:srgbClr val="323130"/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external-facing grand rounds</a:t>
            </a:r>
            <a:r>
              <a:rPr lang="en-US" sz="1600" b="1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, and events with external participants, or </a:t>
            </a:r>
            <a:r>
              <a:rPr lang="en-US" sz="1600" b="1" dirty="0">
                <a:solidFill>
                  <a:srgbClr val="323130"/>
                </a:solidFill>
                <a:latin typeface="Segoe UI" panose="020B0502040204020203" pitchFamily="34" charset="0"/>
              </a:rPr>
              <a:t>in numbers larger than Teams can currently accommodate</a:t>
            </a:r>
            <a:r>
              <a:rPr lang="en-US" sz="1600" b="1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Due to the large number of requests and the limited timeframe, the education office was unable to pre-approve these exceptions in advance, but we were able to have Digital outline the system's plans and the education-approved exceptions. </a:t>
            </a:r>
          </a:p>
          <a:p>
            <a:pPr algn="l">
              <a:buNone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 </a:t>
            </a:r>
          </a:p>
          <a:p>
            <a:pPr algn="l"/>
            <a:r>
              <a:rPr lang="en-US" sz="1600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Please do be parsimonious and </a:t>
            </a:r>
            <a:r>
              <a:rPr lang="en-US" sz="1600" b="1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coordinate to the minimum number of accounts required to successfully continue your essential activities</a:t>
            </a:r>
            <a:r>
              <a:rPr lang="en-US" sz="1600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, as mass requests for all education personnel will not be approved and could jeopardize our ability to maintain those exceptions that are necessary. </a:t>
            </a:r>
          </a:p>
          <a:p>
            <a:pPr algn="l"/>
            <a:endParaRPr lang="en-US" sz="1600" dirty="0">
              <a:solidFill>
                <a:srgbClr val="323130"/>
              </a:solidFill>
              <a:latin typeface="Segoe UI" panose="020B0502040204020203" pitchFamily="34" charset="0"/>
            </a:endParaRPr>
          </a:p>
          <a:p>
            <a:pPr algn="l"/>
            <a:r>
              <a:rPr lang="en-US" sz="1600" b="1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We did not receive education exceptions for Dropbox, but it appears to be the case that there are quite a few parameters that are allowed for continued access for many active users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. We did hear from a handful of people who work organizing educational events with non-MGB collaborators, and would encourage those people to ask for exceptions should the need arise in their individual cases. </a:t>
            </a:r>
          </a:p>
          <a:p>
            <a:pPr algn="l"/>
            <a:endParaRPr lang="en-US" sz="1600" dirty="0">
              <a:solidFill>
                <a:srgbClr val="323130"/>
              </a:solidFill>
              <a:latin typeface="Segoe UI" panose="020B0502040204020203" pitchFamily="34" charset="0"/>
            </a:endParaRPr>
          </a:p>
          <a:p>
            <a:pPr algn="l"/>
            <a:r>
              <a:rPr lang="en-US" sz="1600" b="0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We thank you in advance for balancing the need for professional recruitment and events with careful stewardship of MGB resources as software firms institute more aggressive pricing models.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2F0583-F4A6-D8E4-CF5D-DE721CC112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ucation Exemptions: Changes to Zoom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F27C83-0663-C1B5-2D0E-66CF96A48B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394713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14F8F-DE43-7168-BA69-BDC8D1146A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A96498B-5E02-1AFA-9EC5-053FCE297CA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0079" y="1480391"/>
            <a:ext cx="11314028" cy="5143433"/>
          </a:xfrm>
        </p:spPr>
        <p:txBody>
          <a:bodyPr/>
          <a:lstStyle/>
          <a:p>
            <a:r>
              <a:rPr lang="en-US" sz="2200" b="1" dirty="0"/>
              <a:t>Who should request an exempti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highlight>
                  <a:srgbClr val="FFFF00"/>
                </a:highlight>
              </a:rPr>
              <a:t>Series that run external grand rounds (outside Mass General Brigham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Series that host sessions with a numbers larger than Teams can currently accommodate (many hundreds or thousands of participant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 dirty="0"/>
          </a:p>
          <a:p>
            <a:r>
              <a:rPr lang="en-US" sz="2200" b="1" dirty="0"/>
              <a:t>Timeframe for exempti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Exemptions are SHORT TE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Exemptions will be granted through September 2025. Exemptions will be re-evaluated in fall 2025.</a:t>
            </a:r>
          </a:p>
          <a:p>
            <a:endParaRPr lang="en-US" sz="2200" dirty="0"/>
          </a:p>
          <a:p>
            <a:r>
              <a:rPr lang="en-US" sz="2200" b="1" dirty="0"/>
              <a:t>Deadline for exemption request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highlight>
                  <a:srgbClr val="FFFF00"/>
                </a:highlight>
              </a:rPr>
              <a:t>You must switch to Teams or re-register for Zoom by June 1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It appears your exemption will need to be in place before June 13 to make this dead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So, do it as soon as possib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7D91B-1BC0-AF88-6EA0-E0D9F029E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ucation Exemptions: Changes to Zoom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67EED-38FC-748D-C499-BDFF43442F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432178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DC522A-21F3-DB9A-80F9-5BC1A104DE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4C3CD69-A912-8EC9-4565-157D7F3E92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0079" y="1295699"/>
            <a:ext cx="11314028" cy="5143433"/>
          </a:xfrm>
        </p:spPr>
        <p:txBody>
          <a:bodyPr/>
          <a:lstStyle/>
          <a:p>
            <a:r>
              <a:rPr lang="en-US" sz="2800" b="1" i="1" u="sng" dirty="0"/>
              <a:t>Only series that broadcast outside of MGB should request an exemption</a:t>
            </a:r>
          </a:p>
          <a:p>
            <a:endParaRPr lang="en-US" b="1" dirty="0"/>
          </a:p>
          <a:p>
            <a:r>
              <a:rPr lang="en-US" b="1" dirty="0"/>
              <a:t>How to request your exemp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highlight>
                  <a:srgbClr val="FFFF00"/>
                </a:highlight>
              </a:rPr>
              <a:t>Email General Support: </a:t>
            </a:r>
            <a:r>
              <a:rPr lang="en-US" b="1" dirty="0">
                <a:highlight>
                  <a:srgbClr val="FFFF00"/>
                </a:highlight>
                <a:hlinkClick r:id="rId2"/>
              </a:rPr>
              <a:t>Digital Collaborative Media Team</a:t>
            </a:r>
            <a:r>
              <a:rPr lang="en-US" b="1" dirty="0">
                <a:highlight>
                  <a:srgbClr val="FFFF00"/>
                </a:highlight>
              </a:rPr>
              <a:t> (</a:t>
            </a:r>
            <a:r>
              <a:rPr lang="en-US" b="1" dirty="0">
                <a:highlight>
                  <a:srgbClr val="FFFF00"/>
                </a:highlight>
                <a:hlinkClick r:id="rId2"/>
              </a:rPr>
              <a:t>PCMVideoconferencing@partnershealthcare.onmicrosoft.com</a:t>
            </a:r>
            <a:r>
              <a:rPr lang="en-US" b="1" dirty="0">
                <a:highlight>
                  <a:srgbClr val="FFFF00"/>
                </a:highlight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mail for urgent escalations: ResearchTechEscalations@mgb.org (Also applies to education.)</a:t>
            </a:r>
          </a:p>
          <a:p>
            <a:endParaRPr lang="en-US" b="1" i="1" dirty="0"/>
          </a:p>
          <a:p>
            <a:r>
              <a:rPr lang="en-US" sz="2000" b="1" i="0" dirty="0">
                <a:solidFill>
                  <a:srgbClr val="323130"/>
                </a:solidFill>
                <a:effectLst/>
              </a:rPr>
              <a:t>Be sure to coordinate to the minimum number of accounts required to successfully continue your essential activities</a:t>
            </a:r>
            <a:r>
              <a:rPr lang="en-US" b="1" dirty="0">
                <a:solidFill>
                  <a:srgbClr val="323130"/>
                </a:solidFill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23130"/>
                </a:solidFill>
              </a:rPr>
              <a:t>Example: If you are using the course director’s Zoom account, and that account will continue for patient care purposes, continue to use that account and do not request a second exemp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i="1" dirty="0">
              <a:solidFill>
                <a:srgbClr val="323130"/>
              </a:solidFill>
            </a:endParaRPr>
          </a:p>
          <a:p>
            <a:r>
              <a:rPr lang="en-US" b="1" dirty="0">
                <a:solidFill>
                  <a:srgbClr val="323130"/>
                </a:solidFill>
              </a:rPr>
              <a:t>Note about Dropbox: 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23130"/>
                </a:solidFill>
              </a:rPr>
              <a:t>We encourage those in education using Dropbox for outside collaboration to ask for exceptions should the need arise in their individual cases. </a:t>
            </a:r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D3768FD-8E42-41DF-3545-1A53ED659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580096"/>
          </a:xfrm>
        </p:spPr>
        <p:txBody>
          <a:bodyPr/>
          <a:lstStyle/>
          <a:p>
            <a:r>
              <a:rPr lang="en-US" dirty="0"/>
              <a:t>Education Exemptions: Changes to Zoom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E59BC5-FA6C-38D3-93C3-68DE914E14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467476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s General Brigham PowerPoint</Template>
  <TotalTime>5766</TotalTime>
  <Words>564</Words>
  <Application>Microsoft Office PowerPoint</Application>
  <PresentationFormat>Widescreen</PresentationFormat>
  <Paragraphs>38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Georgia</vt:lpstr>
      <vt:lpstr>Segoe UI</vt:lpstr>
      <vt:lpstr>System Font Regular</vt:lpstr>
      <vt:lpstr>Wingdings</vt:lpstr>
      <vt:lpstr>1_MGB_standard_template_082020</vt:lpstr>
      <vt:lpstr>think-cell Slide</vt:lpstr>
      <vt:lpstr>Education Exemptions: Changes to Zoom</vt:lpstr>
      <vt:lpstr>Education Exemptions: Changes to Zoom</vt:lpstr>
      <vt:lpstr>Education Exemptions: Changes to Zoo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slide</dc:title>
  <dc:creator>Gelardi, Mary</dc:creator>
  <cp:lastModifiedBy>Desilets, Rose</cp:lastModifiedBy>
  <cp:revision>252</cp:revision>
  <dcterms:created xsi:type="dcterms:W3CDTF">2020-10-30T14:00:47Z</dcterms:created>
  <dcterms:modified xsi:type="dcterms:W3CDTF">2025-05-20T16:10:37Z</dcterms:modified>
</cp:coreProperties>
</file>